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5"/>
  </p:notesMasterIdLst>
  <p:handoutMasterIdLst>
    <p:handoutMasterId r:id="rId16"/>
  </p:handoutMasterIdLst>
  <p:sldIdLst>
    <p:sldId id="407" r:id="rId6"/>
    <p:sldId id="396" r:id="rId7"/>
    <p:sldId id="389" r:id="rId8"/>
    <p:sldId id="393" r:id="rId9"/>
    <p:sldId id="373" r:id="rId10"/>
    <p:sldId id="409" r:id="rId11"/>
    <p:sldId id="387" r:id="rId12"/>
    <p:sldId id="388" r:id="rId13"/>
    <p:sldId id="408" r:id="rId14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8D"/>
    <a:srgbClr val="FFD88B"/>
    <a:srgbClr val="EE832A"/>
    <a:srgbClr val="FFB219"/>
    <a:srgbClr val="FFB400"/>
    <a:srgbClr val="FFDC95"/>
    <a:srgbClr val="DBE2ED"/>
    <a:srgbClr val="BAC5D0"/>
    <a:srgbClr val="D2D9E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88" autoAdjust="0"/>
    <p:restoredTop sz="94434" autoAdjust="0"/>
  </p:normalViewPr>
  <p:slideViewPr>
    <p:cSldViewPr>
      <p:cViewPr varScale="1">
        <p:scale>
          <a:sx n="71" d="100"/>
          <a:sy n="71" d="100"/>
        </p:scale>
        <p:origin x="798" y="54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7\11.%20Novembre\Elaborati%20finali\Secondi%20di%20Avvis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7\11.%20Novembre\Elaborati%20finali\Trend%20Fatturato%20Totale%20per%20tabell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7\11.%20Novembre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493356124910232E-2"/>
          <c:y val="8.4458534341254721E-2"/>
          <c:w val="0.97722472608942679"/>
          <c:h val="0.76084347435574451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0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2:$N$2,grafico!$O$2:$P$2)</c:f>
              <c:numCache>
                <c:formatCode>0.0%</c:formatCode>
                <c:ptCount val="15"/>
                <c:pt idx="0">
                  <c:v>2.655515633948368E-3</c:v>
                </c:pt>
                <c:pt idx="1">
                  <c:v>3.0572313574723279E-3</c:v>
                </c:pt>
                <c:pt idx="2">
                  <c:v>1.1534352322552038E-2</c:v>
                </c:pt>
                <c:pt idx="3">
                  <c:v>1.5323977453264555E-2</c:v>
                </c:pt>
                <c:pt idx="4">
                  <c:v>9.3351284251486991E-3</c:v>
                </c:pt>
                <c:pt idx="5">
                  <c:v>2.0698334536912728E-2</c:v>
                </c:pt>
                <c:pt idx="6">
                  <c:v>1.2676586362808773E-2</c:v>
                </c:pt>
                <c:pt idx="7">
                  <c:v>9.0053126612927824E-3</c:v>
                </c:pt>
                <c:pt idx="8">
                  <c:v>5.0426728941196357E-3</c:v>
                </c:pt>
                <c:pt idx="9">
                  <c:v>6.1733587319054923E-3</c:v>
                </c:pt>
                <c:pt idx="10">
                  <c:v>8.0533327470467177E-3</c:v>
                </c:pt>
                <c:pt idx="11">
                  <c:v>0</c:v>
                </c:pt>
                <c:pt idx="13">
                  <c:v>8.8509425817058732E-3</c:v>
                </c:pt>
                <c:pt idx="14">
                  <c:v>9.6296026099279217E-3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3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5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4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9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7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2.0704794464156714E-3"/>
                  <c:y val="-9.1081680929767436E-1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5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13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5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6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4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3:$N$3,grafico!$O$3:$P$3)</c:f>
              <c:numCache>
                <c:formatCode>0.0%</c:formatCode>
                <c:ptCount val="15"/>
                <c:pt idx="0">
                  <c:v>0.1221737155142902</c:v>
                </c:pt>
                <c:pt idx="1">
                  <c:v>0.13715906979200199</c:v>
                </c:pt>
                <c:pt idx="2">
                  <c:v>0.12153504105953931</c:v>
                </c:pt>
                <c:pt idx="3">
                  <c:v>0.13759632638559216</c:v>
                </c:pt>
                <c:pt idx="4">
                  <c:v>0.15558588061825696</c:v>
                </c:pt>
                <c:pt idx="5">
                  <c:v>0.1438923596133683</c:v>
                </c:pt>
                <c:pt idx="6">
                  <c:v>0.19560644010981226</c:v>
                </c:pt>
                <c:pt idx="7">
                  <c:v>0.17697456609322965</c:v>
                </c:pt>
                <c:pt idx="8">
                  <c:v>0.1546242054605412</c:v>
                </c:pt>
                <c:pt idx="9">
                  <c:v>0.13901907541823763</c:v>
                </c:pt>
                <c:pt idx="10">
                  <c:v>0.15101402246335338</c:v>
                </c:pt>
                <c:pt idx="11">
                  <c:v>0</c:v>
                </c:pt>
                <c:pt idx="13">
                  <c:v>0.16444011123088925</c:v>
                </c:pt>
                <c:pt idx="14">
                  <c:v>0.147915888252794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1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4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2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1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3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4:$N$4,grafico!$O$4:$P$4)</c:f>
              <c:numCache>
                <c:formatCode>0.0%</c:formatCode>
                <c:ptCount val="15"/>
                <c:pt idx="0">
                  <c:v>0.12235368268827766</c:v>
                </c:pt>
                <c:pt idx="1">
                  <c:v>0.11600013133367656</c:v>
                </c:pt>
                <c:pt idx="2">
                  <c:v>0.13300592712251949</c:v>
                </c:pt>
                <c:pt idx="3">
                  <c:v>0.15055263785591705</c:v>
                </c:pt>
                <c:pt idx="4">
                  <c:v>0.14768739525749111</c:v>
                </c:pt>
                <c:pt idx="5">
                  <c:v>0.12859182287619395</c:v>
                </c:pt>
                <c:pt idx="6">
                  <c:v>0.14118295599103847</c:v>
                </c:pt>
                <c:pt idx="7">
                  <c:v>0.12718509889718541</c:v>
                </c:pt>
                <c:pt idx="8">
                  <c:v>0.12281897775510242</c:v>
                </c:pt>
                <c:pt idx="9">
                  <c:v>0.12865811238542876</c:v>
                </c:pt>
                <c:pt idx="10">
                  <c:v>0.1059479166983394</c:v>
                </c:pt>
                <c:pt idx="11">
                  <c:v>0</c:v>
                </c:pt>
                <c:pt idx="13">
                  <c:v>0.13114211345780719</c:v>
                </c:pt>
                <c:pt idx="14">
                  <c:v>0.1294798711072597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chemeClr val="accent5">
                <a:lumMod val="2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3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6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6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8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6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66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70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70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71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67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69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5:$N$5,grafico!$O$5:$P$5)</c:f>
              <c:numCache>
                <c:formatCode>0.0%</c:formatCode>
                <c:ptCount val="15"/>
                <c:pt idx="0">
                  <c:v>0.73613532891600575</c:v>
                </c:pt>
                <c:pt idx="1">
                  <c:v>0.72961983977968436</c:v>
                </c:pt>
                <c:pt idx="2">
                  <c:v>0.71043248698372474</c:v>
                </c:pt>
                <c:pt idx="3">
                  <c:v>0.66197645205733491</c:v>
                </c:pt>
                <c:pt idx="4">
                  <c:v>0.66582315253438729</c:v>
                </c:pt>
                <c:pt idx="5">
                  <c:v>0.68194997094715504</c:v>
                </c:pt>
                <c:pt idx="6">
                  <c:v>0.63547893764978824</c:v>
                </c:pt>
                <c:pt idx="7">
                  <c:v>0.66782325330617132</c:v>
                </c:pt>
                <c:pt idx="8">
                  <c:v>0.69965793574565149</c:v>
                </c:pt>
                <c:pt idx="9">
                  <c:v>0.70448507245238579</c:v>
                </c:pt>
                <c:pt idx="10">
                  <c:v>0.7157401817847141</c:v>
                </c:pt>
                <c:pt idx="11">
                  <c:v>0</c:v>
                </c:pt>
                <c:pt idx="13">
                  <c:v>0.67117757932035771</c:v>
                </c:pt>
                <c:pt idx="14">
                  <c:v>0.6920437530760013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2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6:$N$6,grafico!$O$6:$P$6)</c:f>
              <c:numCache>
                <c:formatCode>0.0%</c:formatCode>
                <c:ptCount val="15"/>
                <c:pt idx="0">
                  <c:v>1.6681757247478061E-2</c:v>
                </c:pt>
                <c:pt idx="1">
                  <c:v>1.4163727737164756E-2</c:v>
                </c:pt>
                <c:pt idx="2">
                  <c:v>2.3492192511664414E-2</c:v>
                </c:pt>
                <c:pt idx="3">
                  <c:v>3.4550606247891344E-2</c:v>
                </c:pt>
                <c:pt idx="4">
                  <c:v>2.1568443164715949E-2</c:v>
                </c:pt>
                <c:pt idx="5">
                  <c:v>2.4867512026369967E-2</c:v>
                </c:pt>
                <c:pt idx="6">
                  <c:v>1.5055079886552275E-2</c:v>
                </c:pt>
                <c:pt idx="7">
                  <c:v>1.9011769042120881E-2</c:v>
                </c:pt>
                <c:pt idx="8">
                  <c:v>1.7856208144585214E-2</c:v>
                </c:pt>
                <c:pt idx="9">
                  <c:v>2.1664381012042325E-2</c:v>
                </c:pt>
                <c:pt idx="10">
                  <c:v>1.9244546306546349E-2</c:v>
                </c:pt>
                <c:pt idx="11">
                  <c:v>0</c:v>
                </c:pt>
                <c:pt idx="13">
                  <c:v>2.4389253409239985E-2</c:v>
                </c:pt>
                <c:pt idx="14">
                  <c:v>2.0930884954017032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54927704"/>
        <c:axId val="154928096"/>
      </c:barChart>
      <c:catAx>
        <c:axId val="1549277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4928096"/>
        <c:crosses val="autoZero"/>
        <c:auto val="1"/>
        <c:lblAlgn val="ctr"/>
        <c:lblOffset val="100"/>
        <c:noMultiLvlLbl val="0"/>
      </c:catAx>
      <c:valAx>
        <c:axId val="15492809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54927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4928880"/>
        <c:axId val="154929272"/>
      </c:lineChart>
      <c:catAx>
        <c:axId val="154928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54929272"/>
        <c:crosses val="autoZero"/>
        <c:auto val="1"/>
        <c:lblAlgn val="ctr"/>
        <c:lblOffset val="100"/>
        <c:noMultiLvlLbl val="0"/>
      </c:catAx>
      <c:valAx>
        <c:axId val="154929272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549288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106029542607622E-2"/>
          <c:y val="3.6409087332119373E-2"/>
          <c:w val="0.92395959226026991"/>
          <c:h val="0.7653743879030047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trendline>
            <c:spPr>
              <a:ln w="22225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32</c:f>
              <c:strCache>
                <c:ptCount val="131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  <c:pt idx="130">
                  <c:v>Novembre</c:v>
                </c:pt>
              </c:strCache>
            </c:strRef>
          </c:cat>
          <c:val>
            <c:numRef>
              <c:f>mensile!$D$2:$D$132</c:f>
              <c:numCache>
                <c:formatCode>#,##0</c:formatCode>
                <c:ptCount val="131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34</c:v>
                </c:pt>
                <c:pt idx="109">
                  <c:v>25684</c:v>
                </c:pt>
                <c:pt idx="110">
                  <c:v>29780</c:v>
                </c:pt>
                <c:pt idx="111">
                  <c:v>26671</c:v>
                </c:pt>
                <c:pt idx="112">
                  <c:v>31810</c:v>
                </c:pt>
                <c:pt idx="113">
                  <c:v>30617</c:v>
                </c:pt>
                <c:pt idx="114">
                  <c:v>30419</c:v>
                </c:pt>
                <c:pt idx="115">
                  <c:v>12086</c:v>
                </c:pt>
                <c:pt idx="116">
                  <c:v>25565</c:v>
                </c:pt>
                <c:pt idx="117">
                  <c:v>32296</c:v>
                </c:pt>
                <c:pt idx="118">
                  <c:v>34072</c:v>
                </c:pt>
                <c:pt idx="119">
                  <c:v>28783</c:v>
                </c:pt>
                <c:pt idx="120">
                  <c:v>19986</c:v>
                </c:pt>
                <c:pt idx="121">
                  <c:v>24825</c:v>
                </c:pt>
                <c:pt idx="122">
                  <c:v>29755</c:v>
                </c:pt>
                <c:pt idx="123">
                  <c:v>27509</c:v>
                </c:pt>
                <c:pt idx="124">
                  <c:v>36475</c:v>
                </c:pt>
                <c:pt idx="125">
                  <c:v>33335</c:v>
                </c:pt>
                <c:pt idx="126">
                  <c:v>28882</c:v>
                </c:pt>
                <c:pt idx="127">
                  <c:v>12053</c:v>
                </c:pt>
                <c:pt idx="128">
                  <c:v>28568</c:v>
                </c:pt>
                <c:pt idx="129">
                  <c:v>37030</c:v>
                </c:pt>
                <c:pt idx="130">
                  <c:v>3712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0399352"/>
        <c:axId val="190399744"/>
      </c:lineChart>
      <c:catAx>
        <c:axId val="190399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0399744"/>
        <c:crosses val="autoZero"/>
        <c:auto val="1"/>
        <c:lblAlgn val="ctr"/>
        <c:lblOffset val="100"/>
        <c:noMultiLvlLbl val="0"/>
      </c:catAx>
      <c:valAx>
        <c:axId val="190399744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0399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88627749302371E-2"/>
          <c:y val="2.9463074065136013E-2"/>
          <c:w val="0.92294778905461894"/>
          <c:h val="0.85419689915384589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32</c:f>
              <c:strCache>
                <c:ptCount val="120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222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32</c:f>
              <c:strCache>
                <c:ptCount val="120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</c:strCache>
            </c:strRef>
          </c:cat>
          <c:val>
            <c:numRef>
              <c:f>mensile!$E$13:$E$132</c:f>
              <c:numCache>
                <c:formatCode>#,##0</c:formatCode>
                <c:ptCount val="120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75</c:v>
                </c:pt>
                <c:pt idx="98">
                  <c:v>26698.25</c:v>
                </c:pt>
                <c:pt idx="99">
                  <c:v>26737.666666666668</c:v>
                </c:pt>
                <c:pt idx="100">
                  <c:v>26819.5</c:v>
                </c:pt>
                <c:pt idx="101">
                  <c:v>26852.333333333332</c:v>
                </c:pt>
                <c:pt idx="102">
                  <c:v>26726.666666666668</c:v>
                </c:pt>
                <c:pt idx="103">
                  <c:v>26793.666666666668</c:v>
                </c:pt>
                <c:pt idx="104">
                  <c:v>26859.916666666668</c:v>
                </c:pt>
                <c:pt idx="105">
                  <c:v>26757.166666666668</c:v>
                </c:pt>
                <c:pt idx="106">
                  <c:v>26679.416666666668</c:v>
                </c:pt>
                <c:pt idx="107">
                  <c:v>26937.75</c:v>
                </c:pt>
                <c:pt idx="108">
                  <c:v>27251.416666666668</c:v>
                </c:pt>
                <c:pt idx="109">
                  <c:v>27314.083333333332</c:v>
                </c:pt>
                <c:pt idx="110">
                  <c:v>27242.5</c:v>
                </c:pt>
                <c:pt idx="111">
                  <c:v>27240.416666666668</c:v>
                </c:pt>
                <c:pt idx="112">
                  <c:v>27310.25</c:v>
                </c:pt>
                <c:pt idx="113">
                  <c:v>27699</c:v>
                </c:pt>
                <c:pt idx="114">
                  <c:v>27925.5</c:v>
                </c:pt>
                <c:pt idx="115">
                  <c:v>27797.416666666668</c:v>
                </c:pt>
                <c:pt idx="116">
                  <c:v>27794.666666666668</c:v>
                </c:pt>
                <c:pt idx="117">
                  <c:v>28044.916666666668</c:v>
                </c:pt>
                <c:pt idx="118">
                  <c:v>28439.416666666668</c:v>
                </c:pt>
                <c:pt idx="119">
                  <c:v>28693.9166666666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0400528"/>
        <c:axId val="190400920"/>
      </c:lineChart>
      <c:catAx>
        <c:axId val="1904005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90400920"/>
        <c:crosses val="autoZero"/>
        <c:auto val="0"/>
        <c:lblAlgn val="ctr"/>
        <c:lblOffset val="100"/>
        <c:noMultiLvlLbl val="0"/>
      </c:catAx>
      <c:valAx>
        <c:axId val="190400920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9040052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NOVEMBRE 2017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2 dicembre 2017</a:t>
            </a:r>
            <a:endParaRPr lang="it-IT" sz="20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788069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– Novembre 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 SPECIAL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Nuova da Gennaio 2017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7638924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– Novembre 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 2015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Chiusa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da Dicembre 2016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e 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0584401"/>
              </p:ext>
            </p:extLst>
          </p:nvPr>
        </p:nvGraphicFramePr>
        <p:xfrm>
          <a:off x="407369" y="1017921"/>
          <a:ext cx="11377263" cy="4715335"/>
        </p:xfrm>
        <a:graphic>
          <a:graphicData uri="http://schemas.openxmlformats.org/drawingml/2006/table">
            <a:tbl>
              <a:tblPr/>
              <a:tblGrid>
                <a:gridCol w="968730"/>
                <a:gridCol w="968730"/>
                <a:gridCol w="775137"/>
                <a:gridCol w="775137"/>
                <a:gridCol w="775137"/>
                <a:gridCol w="775137"/>
                <a:gridCol w="775137"/>
                <a:gridCol w="775137"/>
                <a:gridCol w="775137"/>
                <a:gridCol w="775137"/>
                <a:gridCol w="775137"/>
                <a:gridCol w="775137"/>
                <a:gridCol w="775137"/>
                <a:gridCol w="9132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r>
                        <a:rPr lang="it-IT" sz="1300" b="1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8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3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1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7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.6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.08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1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.5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.9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8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.9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5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4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96.5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.5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97.1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03.0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ipologie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</a:t>
            </a:r>
            <a:r>
              <a:rPr lang="it-IT" altLang="it-IT" sz="18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)</a:t>
            </a:r>
            <a:endParaRPr lang="it-IT" altLang="it-IT" sz="18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2743726"/>
              </p:ext>
            </p:extLst>
          </p:nvPr>
        </p:nvGraphicFramePr>
        <p:xfrm>
          <a:off x="335361" y="980728"/>
          <a:ext cx="11521278" cy="4730575"/>
        </p:xfrm>
        <a:graphic>
          <a:graphicData uri="http://schemas.openxmlformats.org/drawingml/2006/table">
            <a:tbl>
              <a:tblPr/>
              <a:tblGrid>
                <a:gridCol w="975220"/>
                <a:gridCol w="975220"/>
                <a:gridCol w="780331"/>
                <a:gridCol w="780331"/>
                <a:gridCol w="780331"/>
                <a:gridCol w="780331"/>
                <a:gridCol w="780331"/>
                <a:gridCol w="780331"/>
                <a:gridCol w="780331"/>
                <a:gridCol w="780331"/>
                <a:gridCol w="780331"/>
                <a:gridCol w="780331"/>
                <a:gridCol w="780331"/>
                <a:gridCol w="987197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kern="120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kern="120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v</a:t>
                      </a: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8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9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1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.7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.2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9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4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7.5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7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9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Avvisi Nazional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6941465"/>
              </p:ext>
            </p:extLst>
          </p:nvPr>
        </p:nvGraphicFramePr>
        <p:xfrm>
          <a:off x="150277" y="1135326"/>
          <a:ext cx="11891446" cy="493932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5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29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5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1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3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4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7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9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2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6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7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7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9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5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9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2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8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6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2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8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8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4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v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3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6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04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.3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6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03.0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9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8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.09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.4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5.1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3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6744991"/>
              </p:ext>
            </p:extLst>
          </p:nvPr>
        </p:nvGraphicFramePr>
        <p:xfrm>
          <a:off x="75798" y="996232"/>
          <a:ext cx="12040404" cy="4901809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771546"/>
                <a:gridCol w="809286"/>
                <a:gridCol w="796361"/>
                <a:gridCol w="841671"/>
                <a:gridCol w="751051"/>
                <a:gridCol w="796361"/>
                <a:gridCol w="868757"/>
                <a:gridCol w="796361"/>
                <a:gridCol w="796361"/>
                <a:gridCol w="796361"/>
                <a:gridCol w="878821"/>
                <a:gridCol w="874473"/>
                <a:gridCol w="606810"/>
                <a:gridCol w="864096"/>
                <a:gridCol w="792088"/>
              </a:tblGrid>
              <a:tr h="420911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6</a:t>
                      </a:r>
                      <a:endParaRPr lang="it-IT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it-IT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7</a:t>
                      </a:r>
                      <a:endParaRPr lang="it-IT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8247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00.456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54.30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513.678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014.361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96.355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717.922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366.83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06.163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71.334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303.654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75.497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.562.979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.516.564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Gra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3645901"/>
              </p:ext>
            </p:extLst>
          </p:nvPr>
        </p:nvGraphicFramePr>
        <p:xfrm>
          <a:off x="-75689" y="1484784"/>
          <a:ext cx="12267690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50700771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6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Novembre 2017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uppo 6"/>
          <p:cNvGrpSpPr/>
          <p:nvPr/>
        </p:nvGrpSpPr>
        <p:grpSpPr>
          <a:xfrm>
            <a:off x="629184" y="1037424"/>
            <a:ext cx="10933632" cy="6092233"/>
            <a:chOff x="630550" y="1037424"/>
            <a:chExt cx="10933632" cy="6092233"/>
          </a:xfrm>
        </p:grpSpPr>
        <p:grpSp>
          <p:nvGrpSpPr>
            <p:cNvPr id="6" name="Gruppo 5"/>
            <p:cNvGrpSpPr/>
            <p:nvPr/>
          </p:nvGrpSpPr>
          <p:grpSpPr>
            <a:xfrm>
              <a:off x="716532" y="1037424"/>
              <a:ext cx="10799572" cy="5157908"/>
              <a:chOff x="716532" y="1037424"/>
              <a:chExt cx="10799572" cy="5157908"/>
            </a:xfrm>
          </p:grpSpPr>
          <p:sp>
            <p:nvSpPr>
              <p:cNvPr id="34" name="Rettangolo 33"/>
              <p:cNvSpPr/>
              <p:nvPr/>
            </p:nvSpPr>
            <p:spPr bwMode="auto">
              <a:xfrm>
                <a:off x="6993302" y="1526473"/>
                <a:ext cx="936463" cy="444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36" name="Rettangolo 35"/>
              <p:cNvSpPr/>
              <p:nvPr/>
            </p:nvSpPr>
            <p:spPr bwMode="auto">
              <a:xfrm>
                <a:off x="3290110" y="1529814"/>
                <a:ext cx="936463" cy="444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 dirty="0"/>
              </a:p>
            </p:txBody>
          </p:sp>
          <p:sp>
            <p:nvSpPr>
              <p:cNvPr id="37" name="Rettangolo 36"/>
              <p:cNvSpPr/>
              <p:nvPr/>
            </p:nvSpPr>
            <p:spPr bwMode="auto">
              <a:xfrm>
                <a:off x="1429080" y="1527467"/>
                <a:ext cx="936463" cy="444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38" name="Rettangolo 37"/>
              <p:cNvSpPr/>
              <p:nvPr/>
            </p:nvSpPr>
            <p:spPr bwMode="auto">
              <a:xfrm>
                <a:off x="5142394" y="1529816"/>
                <a:ext cx="936463" cy="444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48" name="CasellaDiTesto 47"/>
              <p:cNvSpPr txBox="1"/>
              <p:nvPr/>
            </p:nvSpPr>
            <p:spPr>
              <a:xfrm>
                <a:off x="1454200" y="1153234"/>
                <a:ext cx="900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7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Rettangolo 49"/>
              <p:cNvSpPr/>
              <p:nvPr/>
            </p:nvSpPr>
            <p:spPr bwMode="auto">
              <a:xfrm>
                <a:off x="8840197" y="1529284"/>
                <a:ext cx="936463" cy="444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graphicFrame>
            <p:nvGraphicFramePr>
              <p:cNvPr id="53" name="Grafico 52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1520140502"/>
                  </p:ext>
                </p:extLst>
              </p:nvPr>
            </p:nvGraphicFramePr>
            <p:xfrm>
              <a:off x="716532" y="1037424"/>
              <a:ext cx="10799572" cy="515790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54" name="Rettangolo 53"/>
              <p:cNvSpPr/>
              <p:nvPr/>
            </p:nvSpPr>
            <p:spPr bwMode="auto">
              <a:xfrm>
                <a:off x="10681584" y="1530316"/>
                <a:ext cx="756000" cy="4446000"/>
              </a:xfrm>
              <a:prstGeom prst="rect">
                <a:avLst/>
              </a:prstGeom>
              <a:solidFill>
                <a:schemeClr val="bg1">
                  <a:lumMod val="85000"/>
                  <a:alpha val="20000"/>
                </a:schemeClr>
              </a:solidFill>
              <a:ln w="6350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endParaRPr lang="it-IT"/>
              </a:p>
            </p:txBody>
          </p:sp>
          <p:sp>
            <p:nvSpPr>
              <p:cNvPr id="23" name="CasellaDiTesto 22"/>
              <p:cNvSpPr txBox="1"/>
              <p:nvPr/>
            </p:nvSpPr>
            <p:spPr>
              <a:xfrm>
                <a:off x="2396821" y="1154900"/>
                <a:ext cx="900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8</a:t>
                </a:r>
              </a:p>
            </p:txBody>
          </p:sp>
          <p:sp>
            <p:nvSpPr>
              <p:cNvPr id="24" name="CasellaDiTesto 23"/>
              <p:cNvSpPr txBox="1"/>
              <p:nvPr/>
            </p:nvSpPr>
            <p:spPr>
              <a:xfrm>
                <a:off x="3326096" y="1155719"/>
                <a:ext cx="900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09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CasellaDiTesto 27"/>
              <p:cNvSpPr txBox="1"/>
              <p:nvPr/>
            </p:nvSpPr>
            <p:spPr>
              <a:xfrm>
                <a:off x="5160949" y="1155719"/>
                <a:ext cx="900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1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CasellaDiTesto 29"/>
              <p:cNvSpPr txBox="1"/>
              <p:nvPr/>
            </p:nvSpPr>
            <p:spPr>
              <a:xfrm>
                <a:off x="4249713" y="1154566"/>
                <a:ext cx="900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0</a:t>
                </a:r>
              </a:p>
            </p:txBody>
          </p:sp>
          <p:sp>
            <p:nvSpPr>
              <p:cNvPr id="35" name="CasellaDiTesto 34"/>
              <p:cNvSpPr txBox="1"/>
              <p:nvPr/>
            </p:nvSpPr>
            <p:spPr>
              <a:xfrm>
                <a:off x="6089647" y="1152684"/>
                <a:ext cx="900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2</a:t>
                </a:r>
              </a:p>
            </p:txBody>
          </p:sp>
          <p:sp>
            <p:nvSpPr>
              <p:cNvPr id="40" name="CasellaDiTesto 39"/>
              <p:cNvSpPr txBox="1"/>
              <p:nvPr/>
            </p:nvSpPr>
            <p:spPr>
              <a:xfrm>
                <a:off x="7002054" y="1155859"/>
                <a:ext cx="900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3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CasellaDiTesto 40"/>
              <p:cNvSpPr txBox="1"/>
              <p:nvPr/>
            </p:nvSpPr>
            <p:spPr>
              <a:xfrm>
                <a:off x="7938251" y="1154612"/>
                <a:ext cx="900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4</a:t>
                </a:r>
              </a:p>
            </p:txBody>
          </p:sp>
          <p:sp>
            <p:nvSpPr>
              <p:cNvPr id="42" name="CasellaDiTesto 41"/>
              <p:cNvSpPr txBox="1"/>
              <p:nvPr/>
            </p:nvSpPr>
            <p:spPr>
              <a:xfrm>
                <a:off x="8867331" y="1156357"/>
                <a:ext cx="900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5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CasellaDiTesto 56"/>
              <p:cNvSpPr txBox="1"/>
              <p:nvPr/>
            </p:nvSpPr>
            <p:spPr>
              <a:xfrm>
                <a:off x="9801054" y="1151262"/>
                <a:ext cx="864000" cy="272770"/>
              </a:xfrm>
              <a:prstGeom prst="rect">
                <a:avLst/>
              </a:prstGeom>
              <a:noFill/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6</a:t>
                </a:r>
              </a:p>
            </p:txBody>
          </p:sp>
          <p:sp>
            <p:nvSpPr>
              <p:cNvPr id="58" name="CasellaDiTesto 57"/>
              <p:cNvSpPr txBox="1"/>
              <p:nvPr/>
            </p:nvSpPr>
            <p:spPr>
              <a:xfrm>
                <a:off x="10703059" y="1152883"/>
                <a:ext cx="756000" cy="272770"/>
              </a:xfrm>
              <a:prstGeom prst="rect">
                <a:avLst/>
              </a:prstGeom>
              <a:solidFill>
                <a:srgbClr val="D9D9D9">
                  <a:alpha val="20000"/>
                </a:srgbClr>
              </a:solidFill>
              <a:ln>
                <a:solidFill>
                  <a:srgbClr val="D9D9D9">
                    <a:alpha val="20000"/>
                  </a:srgbClr>
                </a:solidFill>
              </a:ln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it-IT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2017</a:t>
                </a:r>
                <a:endParaRPr lang="it-IT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aphicFrame>
          <p:nvGraphicFramePr>
            <p:cNvPr id="25" name="Grafico 2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24859592"/>
                </p:ext>
              </p:extLst>
            </p:nvPr>
          </p:nvGraphicFramePr>
          <p:xfrm>
            <a:off x="630550" y="1309599"/>
            <a:ext cx="10933632" cy="582005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Novembre 2017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741194" y="1296055"/>
            <a:ext cx="10709612" cy="5157281"/>
            <a:chOff x="741194" y="1296055"/>
            <a:chExt cx="10709612" cy="5157281"/>
          </a:xfrm>
        </p:grpSpPr>
        <p:sp>
          <p:nvSpPr>
            <p:cNvPr id="28" name="Rettangolo 27"/>
            <p:cNvSpPr/>
            <p:nvPr/>
          </p:nvSpPr>
          <p:spPr bwMode="auto">
            <a:xfrm>
              <a:off x="7464152" y="1781447"/>
              <a:ext cx="1085504" cy="4104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9564153" y="1784235"/>
              <a:ext cx="1085504" cy="4104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417775" y="1780714"/>
              <a:ext cx="1085504" cy="4104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3424706" y="1783593"/>
              <a:ext cx="1085504" cy="4104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9" name="Rettangolo 38"/>
            <p:cNvSpPr/>
            <p:nvPr/>
          </p:nvSpPr>
          <p:spPr bwMode="auto">
            <a:xfrm>
              <a:off x="5442464" y="1772628"/>
              <a:ext cx="1085504" cy="4104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1425508" y="1300015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CasellaDiTesto 21"/>
            <p:cNvSpPr txBox="1"/>
            <p:nvPr/>
          </p:nvSpPr>
          <p:spPr>
            <a:xfrm>
              <a:off x="2542287" y="1301710"/>
              <a:ext cx="864000" cy="280143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3463483" y="1302543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5475310" y="1302543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4573514" y="1301370"/>
              <a:ext cx="864000" cy="277562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6608239" y="1299455"/>
              <a:ext cx="864000" cy="281417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7515727" y="1302686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CasellaDiTesto 42"/>
            <p:cNvSpPr txBox="1"/>
            <p:nvPr/>
          </p:nvSpPr>
          <p:spPr>
            <a:xfrm>
              <a:off x="8645243" y="1301417"/>
              <a:ext cx="864000" cy="281417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44" name="CasellaDiTesto 43"/>
            <p:cNvSpPr txBox="1"/>
            <p:nvPr/>
          </p:nvSpPr>
          <p:spPr>
            <a:xfrm>
              <a:off x="9591947" y="1303192"/>
              <a:ext cx="1044000" cy="278192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CasellaDiTesto 44"/>
            <p:cNvSpPr txBox="1"/>
            <p:nvPr/>
          </p:nvSpPr>
          <p:spPr>
            <a:xfrm>
              <a:off x="10706170" y="1296055"/>
              <a:ext cx="540000" cy="281417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graphicFrame>
          <p:nvGraphicFramePr>
            <p:cNvPr id="20" name="Grafico 1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03903250"/>
                </p:ext>
              </p:extLst>
            </p:nvPr>
          </p:nvGraphicFramePr>
          <p:xfrm>
            <a:off x="741194" y="1624783"/>
            <a:ext cx="10709612" cy="482855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2226</TotalTime>
  <Words>869</Words>
  <Application>Microsoft Office PowerPoint</Application>
  <PresentationFormat>Widescreen</PresentationFormat>
  <Paragraphs>691</Paragraphs>
  <Slides>9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9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elvaggi Laura</cp:lastModifiedBy>
  <cp:revision>1933</cp:revision>
  <cp:lastPrinted>2017-12-19T11:26:10Z</cp:lastPrinted>
  <dcterms:created xsi:type="dcterms:W3CDTF">2006-03-29T09:09:15Z</dcterms:created>
  <dcterms:modified xsi:type="dcterms:W3CDTF">2017-12-19T11:39:33Z</dcterms:modified>
</cp:coreProperties>
</file>